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3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4b0247d0a6f99721226bf653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AE547719-2252-48CE-B498-D4EB035F9A5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Optimierung der Maschineneffizienz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9826"/>
            <a:ext cx="7539038" cy="288925"/>
          </a:xfrm>
        </p:spPr>
        <p:txBody>
          <a:bodyPr/>
          <a:lstStyle/>
          <a:p>
            <a:r>
              <a:rPr lang="de-DE"/>
              <a:t>Robosmart-Einlauf für LINEAR / IBU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 dirty="0"/>
              <a:t>Nutzen: Effizienz, Flexibilität</a:t>
            </a:r>
          </a:p>
          <a:p>
            <a:r>
              <a:rPr lang="de-DE" sz="800" dirty="0"/>
              <a:t>Ausstattung: Pal/</a:t>
            </a:r>
            <a:r>
              <a:rPr lang="de-DE" sz="800" dirty="0" err="1"/>
              <a:t>Depal</a:t>
            </a:r>
            <a:r>
              <a:rPr lang="de-DE" sz="800" dirty="0"/>
              <a:t> </a:t>
            </a:r>
          </a:p>
          <a:p>
            <a:r>
              <a:rPr lang="de-DE" sz="800"/>
              <a:t>Katalog-Code: </a:t>
            </a:r>
            <a:r>
              <a:rPr lang="de-DE" sz="800" dirty="0"/>
              <a:t>EOL01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389225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000" b="1"/>
              <a:t>Produktivitä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/>
              <a:t>Sicherstellung einer höheren Produktivität, Präzision, Effizienz und Verpackungsqualität, weiter verbessert durch die Möglichkeit, mehrere Gebinde im selben Zyklus zu greife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r>
              <a:rPr lang="de-DE" sz="1000" b="1"/>
              <a:t>Flexibilitä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/>
              <a:t>Ideal für häufige Formatwechsel. Potenziell kann eine unbegrenzte Anzahl an Palettierschemata erstellt werde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/>
              <a:t>Bei einem neuen Schema genügt es, die Software zu installieren, ohne dass mechanische Stopper benötigt werden. Rotation der Gebinde ohne Stöße. Weniger Lärmentwicklung. Geringere Wartungskosten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fr-FR" sz="1000" dirty="0"/>
          </a:p>
          <a:p>
            <a:pPr>
              <a:buClr>
                <a:schemeClr val="accent4"/>
              </a:buClr>
            </a:pPr>
            <a:r>
              <a:rPr lang="de-DE" sz="1000" b="1"/>
              <a:t>Qualitä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/>
              <a:t>Der Flat Top-Tisch gewährleistet die Gebindestabilität während der Lagenvorbereitung, insbesondere für leichte Gebinde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/>
              <a:t>Der </a:t>
            </a:r>
            <a:r>
              <a:rPr lang="de-DE" sz="1000" b="1"/>
              <a:t>ROBOSMART</a:t>
            </a:r>
            <a:r>
              <a:rPr lang="de-DE" sz="1000"/>
              <a:t> ™-Einlauf besteht aus einem Dosierband, einem flachen Fördertisch, Robotern (1 - 2 oder mehr) für die Lagenbildung und einem Flachkettentisch für den Lagenschieber.  </a:t>
            </a:r>
          </a:p>
          <a:p>
            <a:r>
              <a:rPr lang="de-DE" sz="1000"/>
              <a:t>Die Roboter-Greifköpfe führen die Lagenmustervorbereitung durch (Position und Rotation).</a:t>
            </a:r>
          </a:p>
          <a:p>
            <a:endParaRPr lang="it-IT" sz="1000" dirty="0"/>
          </a:p>
          <a:p>
            <a:r>
              <a:rPr lang="de-DE" sz="1000"/>
              <a:t>Der </a:t>
            </a:r>
            <a:r>
              <a:rPr lang="de-DE" sz="1000" b="1"/>
              <a:t>ROBOSMART</a:t>
            </a:r>
            <a:r>
              <a:rPr lang="de-DE" sz="1000"/>
              <a:t>™-Einlauf sorgt für präzise Bewegung mit hoher Wiederholbarkeit, mit positiver Gebindehandhabung ohne Stöße, sogar wenn die Qualität der Einlaufgebinde nicht perfekt is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855326-37BB-429E-9857-5B9ABCB1859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9815" y="3749041"/>
            <a:ext cx="2814418" cy="176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54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5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Optimierung der Maschineneffizienz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5</cp:revision>
  <cp:lastPrinted>2017-09-01T14:01:41Z</cp:lastPrinted>
  <dcterms:created xsi:type="dcterms:W3CDTF">2017-07-10T14:51:51Z</dcterms:created>
  <dcterms:modified xsi:type="dcterms:W3CDTF">2019-06-26T12:0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3:50:44.0599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